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15"/>
  </p:notesMasterIdLst>
  <p:sldIdLst>
    <p:sldId id="441" r:id="rId6"/>
    <p:sldId id="426" r:id="rId7"/>
    <p:sldId id="427" r:id="rId8"/>
    <p:sldId id="437" r:id="rId9"/>
    <p:sldId id="438" r:id="rId10"/>
    <p:sldId id="442" r:id="rId11"/>
    <p:sldId id="447" r:id="rId12"/>
    <p:sldId id="449" r:id="rId13"/>
    <p:sldId id="444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2CD054A-7DBD-4EC6-B64D-FFEF1D2B799A}">
          <p14:sldIdLst>
            <p14:sldId id="441"/>
            <p14:sldId id="426"/>
            <p14:sldId id="427"/>
            <p14:sldId id="437"/>
            <p14:sldId id="438"/>
            <p14:sldId id="442"/>
            <p14:sldId id="447"/>
            <p14:sldId id="449"/>
            <p14:sldId id="444"/>
          </p14:sldIdLst>
        </p14:section>
        <p14:section name="Раздел без заголовка" id="{E3544E86-4B60-454C-A983-813FE1463D4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260" userDrawn="1">
          <p15:clr>
            <a:srgbClr val="A4A3A4"/>
          </p15:clr>
        </p15:guide>
        <p15:guide id="4" pos="29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фремова Ирина Юрьевна" initials="ЕИЮ" lastIdx="0" clrIdx="0">
    <p:extLst>
      <p:ext uri="{19B8F6BF-5375-455C-9EA6-DF929625EA0E}">
        <p15:presenceInfo xmlns:p15="http://schemas.microsoft.com/office/powerpoint/2012/main" userId="Ефремова Ирина Юрь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CE39"/>
    <a:srgbClr val="6AA744"/>
    <a:srgbClr val="FFCB05"/>
    <a:srgbClr val="238441"/>
    <a:srgbClr val="003300"/>
    <a:srgbClr val="2B6030"/>
    <a:srgbClr val="FDC537"/>
    <a:srgbClr val="004600"/>
    <a:srgbClr val="003200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662" autoAdjust="0"/>
    <p:restoredTop sz="94884" autoAdjust="0"/>
  </p:normalViewPr>
  <p:slideViewPr>
    <p:cSldViewPr snapToGrid="0" snapToObjects="1">
      <p:cViewPr varScale="1">
        <p:scale>
          <a:sx n="109" d="100"/>
          <a:sy n="109" d="100"/>
        </p:scale>
        <p:origin x="336" y="108"/>
      </p:cViewPr>
      <p:guideLst>
        <p:guide orient="horz" pos="2160"/>
        <p:guide pos="2880"/>
        <p:guide orient="horz" pos="2260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33822C-CF52-4936-ADFC-F2505FF4BEEA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74D83F-0AD2-440F-8C5A-147DF78BBE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889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55454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09383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1504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4761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10917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9905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586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74D83F-0AD2-440F-8C5A-147DF78BBE7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107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jpeg"/><Relationship Id="rId4" Type="http://schemas.openxmlformats.org/officeDocument/2006/relationships/tags" Target="../tags/tag3.xml"/><Relationship Id="rId9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jpeg"/><Relationship Id="rId4" Type="http://schemas.openxmlformats.org/officeDocument/2006/relationships/tags" Target="../tags/tag6.xml"/><Relationship Id="rId9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jpeg"/><Relationship Id="rId4" Type="http://schemas.openxmlformats.org/officeDocument/2006/relationships/tags" Target="../tags/tag9.xml"/><Relationship Id="rId9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jpeg"/><Relationship Id="rId4" Type="http://schemas.openxmlformats.org/officeDocument/2006/relationships/tags" Target="../tags/tag12.xml"/><Relationship Id="rId9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7.jpeg"/><Relationship Id="rId4" Type="http://schemas.openxmlformats.org/officeDocument/2006/relationships/tags" Target="../tags/tag15.xml"/><Relationship Id="rId9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9.jpeg"/><Relationship Id="rId4" Type="http://schemas.openxmlformats.org/officeDocument/2006/relationships/tags" Target="../tags/tag18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jpeg"/><Relationship Id="rId4" Type="http://schemas.openxmlformats.org/officeDocument/2006/relationships/tags" Target="../tags/tag21.xml"/><Relationship Id="rId9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1.png"/><Relationship Id="rId4" Type="http://schemas.openxmlformats.org/officeDocument/2006/relationships/tags" Target="../tags/tag24.xml"/><Relationship Id="rId9" Type="http://schemas.openxmlformats.org/officeDocument/2006/relationships/oleObject" Target="../embeddings/oleObject2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12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8.png"/><Relationship Id="rId4" Type="http://schemas.openxmlformats.org/officeDocument/2006/relationships/tags" Target="../tags/tag27.xml"/><Relationship Id="rId9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759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415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430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15" descr="Covers Fields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2900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4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92695" y="534446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86326" y="4480107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586326" y="5449760"/>
            <a:ext cx="7649629" cy="48114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297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15" descr="Covers Fields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2900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4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92695" y="534446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86326" y="4480107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586326" y="5449760"/>
            <a:ext cx="7649629" cy="48114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88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15" descr="Covers Fields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2900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4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92695" y="534446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86326" y="4480107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586326" y="5449760"/>
            <a:ext cx="7649629" cy="48114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6269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15" descr="Covers Fields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2900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4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92695" y="534446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86326" y="4480107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586326" y="5449760"/>
            <a:ext cx="7649629" cy="48114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3901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4" descr="Covers Grass 01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26563" cy="699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2"/>
          <p:cNvCxnSpPr/>
          <p:nvPr userDrawn="1"/>
        </p:nvCxnSpPr>
        <p:spPr>
          <a:xfrm>
            <a:off x="542925" y="3333750"/>
            <a:ext cx="8686800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3"/>
          <p:cNvSpPr/>
          <p:nvPr userDrawn="1"/>
        </p:nvSpPr>
        <p:spPr>
          <a:xfrm>
            <a:off x="0" y="1749425"/>
            <a:ext cx="127000" cy="5257800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Rectangle 14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93" y="534446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40275" y="2332386"/>
            <a:ext cx="7649629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40275" y="3492035"/>
            <a:ext cx="7649629" cy="1294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069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4" descr="Covers Grass 01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26563" cy="699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2"/>
          <p:cNvCxnSpPr/>
          <p:nvPr userDrawn="1"/>
        </p:nvCxnSpPr>
        <p:spPr>
          <a:xfrm>
            <a:off x="542925" y="3333750"/>
            <a:ext cx="8686800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3"/>
          <p:cNvSpPr/>
          <p:nvPr userDrawn="1"/>
        </p:nvSpPr>
        <p:spPr>
          <a:xfrm>
            <a:off x="0" y="1749425"/>
            <a:ext cx="127000" cy="5257800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Rectangle 14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93" y="534446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40296" y="2332386"/>
            <a:ext cx="747182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40296" y="3492035"/>
            <a:ext cx="7471828" cy="1294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5125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9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4" name="Picture 4" descr="Covers Grass 01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26563" cy="699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5"/>
          <p:cNvSpPr/>
          <p:nvPr/>
        </p:nvSpPr>
        <p:spPr>
          <a:xfrm>
            <a:off x="0" y="1749425"/>
            <a:ext cx="127000" cy="5257800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6" name="Picture 6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8"/>
          <p:cNvSpPr/>
          <p:nvPr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8" name="Straight Connector 12"/>
          <p:cNvCxnSpPr/>
          <p:nvPr userDrawn="1"/>
        </p:nvCxnSpPr>
        <p:spPr>
          <a:xfrm>
            <a:off x="542925" y="3333750"/>
            <a:ext cx="8686800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93" y="534446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40296" y="2332386"/>
            <a:ext cx="747182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40296" y="3492035"/>
            <a:ext cx="7471828" cy="12944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4579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6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8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1" name="Picture 12" descr="Pattern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6800"/>
            <a:ext cx="9144000" cy="217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 descr="Logo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93" y="2540000"/>
            <a:ext cx="3788829" cy="1752600"/>
          </a:xfrm>
        </p:spPr>
        <p:txBody>
          <a:bodyPr bIns="18716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93" y="534446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1993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2668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6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graphicFrame>
        <p:nvGraphicFramePr>
          <p:cNvPr id="8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3"/>
          <p:cNvSpPr txBox="1">
            <a:spLocks/>
          </p:cNvSpPr>
          <p:nvPr/>
        </p:nvSpPr>
        <p:spPr>
          <a:xfrm>
            <a:off x="595313" y="6438900"/>
            <a:ext cx="2132012" cy="365125"/>
          </a:xfrm>
          <a:prstGeom prst="rect">
            <a:avLst/>
          </a:prstGeom>
        </p:spPr>
        <p:txBody>
          <a:bodyPr lIns="91420" tIns="45711" rIns="91420" bIns="45711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l" defTabSz="457104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Россельхозбанк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0" name="Picture 10" descr="Logo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1"/>
          <p:cNvSpPr/>
          <p:nvPr userDrawn="1"/>
        </p:nvSpPr>
        <p:spPr>
          <a:xfrm>
            <a:off x="0" y="534988"/>
            <a:ext cx="127000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6" descr="Main Pattern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49400"/>
            <a:ext cx="92329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304800" y="6527800"/>
            <a:ext cx="2019300" cy="330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 defTabSz="457104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7" y="1714502"/>
            <a:ext cx="4168434" cy="4334934"/>
          </a:xfrm>
        </p:spPr>
        <p:txBody>
          <a:bodyPr/>
          <a:lstStyle>
            <a:lvl1pPr>
              <a:buFontTx/>
              <a:buBlip>
                <a:blip r:embed="rId12"/>
              </a:buBlip>
              <a:defRPr>
                <a:solidFill>
                  <a:schemeClr val="bg1"/>
                </a:solidFill>
              </a:defRPr>
            </a:lvl1pPr>
            <a:lvl2pPr>
              <a:buClr>
                <a:srgbClr val="8EC02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C02F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8EC02F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8EC02F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94066" y="534445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761163" y="652780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7AD14384-2868-4543-B47F-245879BAFF21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328987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74135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0770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8187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4252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872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035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381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578949-9F70-464F-A9C6-A5A7A44B0193}" type="datetimeFigureOut">
              <a:rPr lang="ru-RU" smtClean="0"/>
              <a:t>07.07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19206D-012A-4A92-A3FF-0351E3148F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663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2" r:id="rId19"/>
    <p:sldLayoutId id="2147483684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20.jpe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1.JP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12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4.JPG"/><Relationship Id="rId11" Type="http://schemas.openxmlformats.org/officeDocument/2006/relationships/image" Target="../media/image17.png"/><Relationship Id="rId5" Type="http://schemas.openxmlformats.org/officeDocument/2006/relationships/image" Target="../media/image15.png"/><Relationship Id="rId10" Type="http://schemas.openxmlformats.org/officeDocument/2006/relationships/image" Target="../media/image28.jp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7.png"/><Relationship Id="rId5" Type="http://schemas.openxmlformats.org/officeDocument/2006/relationships/image" Target="../media/image29.jp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10" Type="http://schemas.openxmlformats.org/officeDocument/2006/relationships/image" Target="../media/image32.png"/><Relationship Id="rId4" Type="http://schemas.openxmlformats.org/officeDocument/2006/relationships/image" Target="../media/image30.png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3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1772816"/>
            <a:ext cx="5093208" cy="3192376"/>
          </a:xfrm>
        </p:spPr>
        <p:txBody>
          <a:bodyPr>
            <a:noAutofit/>
          </a:bodyPr>
          <a:lstStyle/>
          <a:p>
            <a:pPr marL="88900" algn="just"/>
            <a:r>
              <a:rPr lang="ru-RU" sz="1800" dirty="0" smtClean="0"/>
              <a:t>Требования к проектно-сметной документации </a:t>
            </a:r>
            <a:r>
              <a:rPr lang="ru-RU" sz="1800" dirty="0"/>
              <a:t>в рамках кредитного продукта «Ипотечный кредит с льготной процентной ставкой для граждан Российской Федерации на строительство (приобретение) жилого помещения на сельских территориях»</a:t>
            </a:r>
          </a:p>
        </p:txBody>
      </p:sp>
    </p:spTree>
    <p:extLst>
      <p:ext uri="{BB962C8B-B14F-4D97-AF65-F5344CB8AC3E}">
        <p14:creationId xmlns:p14="http://schemas.microsoft.com/office/powerpoint/2010/main" val="3244840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3" b="25306"/>
          <a:stretch/>
        </p:blipFill>
        <p:spPr>
          <a:xfrm>
            <a:off x="4114799" y="854166"/>
            <a:ext cx="4945803" cy="3470896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03256" y="1206855"/>
            <a:ext cx="3902581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Проект должен содержать разделы: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Фундамент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Стены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Перекрытия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Крыша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Пол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Окна</a:t>
            </a:r>
            <a:endParaRPr lang="ru-RU" sz="1600" dirty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Двери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Отделка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Инженерные коммуникации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1600" dirty="0" smtClean="0"/>
              <a:t>Благоустройство территории</a:t>
            </a:r>
          </a:p>
          <a:p>
            <a:pPr algn="just">
              <a:buClr>
                <a:srgbClr val="FFC000"/>
              </a:buClr>
            </a:pPr>
            <a:endParaRPr lang="ru-RU" sz="1600" dirty="0" smtClean="0"/>
          </a:p>
          <a:p>
            <a:pPr algn="just">
              <a:buClr>
                <a:srgbClr val="FFC000"/>
              </a:buClr>
            </a:pPr>
            <a:endParaRPr lang="ru-RU" sz="1600" b="1" dirty="0" smtClean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8160" y="4500064"/>
            <a:ext cx="4363506" cy="162906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12218" y="4325062"/>
            <a:ext cx="390258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FFC000"/>
              </a:buClr>
            </a:pPr>
            <a:r>
              <a:rPr lang="ru-RU" sz="1600" b="1" dirty="0" smtClean="0"/>
              <a:t>Краткое </a:t>
            </a:r>
            <a:r>
              <a:rPr lang="ru-RU" sz="1600" b="1" dirty="0"/>
              <a:t>описание проекта: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Этажность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Материалы конструкций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Планы фундамента и этажей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Конструкция крыши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Коммуникации</a:t>
            </a:r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Стоимость строительных материалов</a:t>
            </a:r>
            <a:endParaRPr lang="ru-RU" sz="1600" dirty="0"/>
          </a:p>
          <a:p>
            <a:pPr marL="285750" indent="-285750" algn="just"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ru-RU" sz="1600" dirty="0" smtClean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Содержание сметы</a:t>
            </a:r>
          </a:p>
        </p:txBody>
      </p:sp>
    </p:spTree>
    <p:extLst>
      <p:ext uri="{BB962C8B-B14F-4D97-AF65-F5344CB8AC3E}">
        <p14:creationId xmlns:p14="http://schemas.microsoft.com/office/powerpoint/2010/main" val="3723768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6" t="61995" r="54814" b="-230"/>
          <a:stretch/>
        </p:blipFill>
        <p:spPr>
          <a:xfrm>
            <a:off x="6494105" y="3010357"/>
            <a:ext cx="1525079" cy="128172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67" t="10348" r="563" b="48759"/>
          <a:stretch/>
        </p:blipFill>
        <p:spPr>
          <a:xfrm>
            <a:off x="3688809" y="4969242"/>
            <a:ext cx="1926414" cy="147865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2" t="11810" r="54140" b="52756"/>
          <a:stretch/>
        </p:blipFill>
        <p:spPr>
          <a:xfrm>
            <a:off x="7505045" y="1893261"/>
            <a:ext cx="1544109" cy="1268918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208413" y="1210007"/>
            <a:ext cx="651688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/>
              <a:t>Фундамент – основополагающая часть любого строения, поскольку именно правильность выбора и закладки фундамента влияет на длительность срока эксплуатации здания</a:t>
            </a:r>
          </a:p>
          <a:p>
            <a:endParaRPr lang="ru-RU" sz="1600" b="1" dirty="0"/>
          </a:p>
          <a:p>
            <a:r>
              <a:rPr lang="ru-RU" sz="1600" dirty="0" smtClean="0"/>
              <a:t>Виды фундамента:</a:t>
            </a:r>
          </a:p>
          <a:p>
            <a:endParaRPr lang="ru-RU" sz="1600" dirty="0" smtClean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Ленточный</a:t>
            </a:r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 smtClean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Свайно-</a:t>
            </a:r>
            <a:r>
              <a:rPr lang="ru-RU" sz="1600" dirty="0" err="1" smtClean="0"/>
              <a:t>ростверковый</a:t>
            </a:r>
            <a:endParaRPr lang="ru-RU" sz="1600" dirty="0" smtClean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 smtClean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 smtClean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Кирпичный</a:t>
            </a:r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 smtClean="0"/>
          </a:p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Плитный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1396682" y="5072186"/>
            <a:ext cx="3123067" cy="0"/>
          </a:xfrm>
          <a:prstGeom prst="line">
            <a:avLst/>
          </a:prstGeom>
          <a:ln w="25400">
            <a:solidFill>
              <a:srgbClr val="6AA74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22" r="21728"/>
          <a:stretch/>
        </p:blipFill>
        <p:spPr>
          <a:xfrm>
            <a:off x="5209874" y="4036073"/>
            <a:ext cx="1670186" cy="1210342"/>
          </a:xfrm>
          <a:prstGeom prst="rect">
            <a:avLst/>
          </a:prstGeom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1574046" y="4367274"/>
            <a:ext cx="3785616" cy="0"/>
          </a:xfrm>
          <a:prstGeom prst="line">
            <a:avLst/>
          </a:prstGeom>
          <a:ln w="25400">
            <a:solidFill>
              <a:srgbClr val="6AA74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546604" y="3651219"/>
            <a:ext cx="4050792" cy="0"/>
          </a:xfrm>
          <a:prstGeom prst="line">
            <a:avLst/>
          </a:prstGeom>
          <a:ln w="25400">
            <a:solidFill>
              <a:srgbClr val="6AA74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574046" y="2892515"/>
            <a:ext cx="6185291" cy="0"/>
          </a:xfrm>
          <a:prstGeom prst="line">
            <a:avLst/>
          </a:prstGeom>
          <a:ln w="25400">
            <a:solidFill>
              <a:srgbClr val="6AA74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Фундаментные работы</a:t>
            </a:r>
          </a:p>
        </p:txBody>
      </p:sp>
    </p:spTree>
    <p:extLst>
      <p:ext uri="{BB962C8B-B14F-4D97-AF65-F5344CB8AC3E}">
        <p14:creationId xmlns:p14="http://schemas.microsoft.com/office/powerpoint/2010/main" val="2051583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10" b="5713"/>
          <a:stretch/>
        </p:blipFill>
        <p:spPr>
          <a:xfrm>
            <a:off x="4291471" y="1640277"/>
            <a:ext cx="4921651" cy="42758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08303" y="4368560"/>
            <a:ext cx="4293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Материал дома: кирпичный, газобетонный, панельный, деревянный, монолитный, блочный, керамзитобетонны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4672" y="3184009"/>
            <a:ext cx="43092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/>
              <a:t>Виды перекрытий: дерево по деревянным балкам, дерево по ж/б балкам, ж/б плиты, монолит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08303" y="2009984"/>
            <a:ext cx="43795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Материал кровли: </a:t>
            </a:r>
            <a:r>
              <a:rPr lang="ru-RU" sz="1600" dirty="0" err="1" smtClean="0"/>
              <a:t>металлочерепица</a:t>
            </a:r>
            <a:r>
              <a:rPr lang="ru-RU" sz="1600" dirty="0" smtClean="0"/>
              <a:t>, гибкая черепица, </a:t>
            </a:r>
            <a:r>
              <a:rPr lang="ru-RU" sz="1600" dirty="0" err="1" smtClean="0"/>
              <a:t>профнастил</a:t>
            </a:r>
            <a:r>
              <a:rPr lang="ru-RU" sz="1600" dirty="0" smtClean="0"/>
              <a:t>, шифер</a:t>
            </a:r>
            <a:endParaRPr lang="ru-RU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192454" y="1217433"/>
            <a:ext cx="564687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/>
              <a:t>Основными этапами строительства загородного дома являются работы по возведению: стен, перекрытий и крыши</a:t>
            </a:r>
          </a:p>
          <a:p>
            <a:pPr algn="just"/>
            <a:endParaRPr lang="ru-RU" dirty="0" smtClean="0"/>
          </a:p>
          <a:p>
            <a:pPr algn="just"/>
            <a:endParaRPr lang="ru-RU" dirty="0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313560" y="4337996"/>
            <a:ext cx="6699738" cy="28771"/>
          </a:xfrm>
          <a:prstGeom prst="line">
            <a:avLst/>
          </a:prstGeom>
          <a:ln w="25400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328019" y="3206256"/>
            <a:ext cx="5431139" cy="0"/>
          </a:xfrm>
          <a:prstGeom prst="line">
            <a:avLst/>
          </a:prstGeom>
          <a:ln w="25400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313560" y="2024336"/>
            <a:ext cx="5117610" cy="0"/>
          </a:xfrm>
          <a:prstGeom prst="line">
            <a:avLst/>
          </a:prstGeom>
          <a:ln w="25400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вал 32"/>
          <p:cNvSpPr/>
          <p:nvPr/>
        </p:nvSpPr>
        <p:spPr>
          <a:xfrm>
            <a:off x="5527753" y="3387023"/>
            <a:ext cx="751542" cy="658571"/>
          </a:xfrm>
          <a:prstGeom prst="ellipse">
            <a:avLst/>
          </a:prstGeom>
          <a:blipFill dpi="0" rotWithShape="1">
            <a:blip r:embed="rId5"/>
            <a:srcRect/>
            <a:stretch>
              <a:fillRect l="-36483" t="-1229" r="-57517" b="1229"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z="254000" extrusionH="63500" contourW="19050" prstMaterial="matte">
            <a:contourClr>
              <a:srgbClr val="00B050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Овал 34"/>
          <p:cNvSpPr/>
          <p:nvPr/>
        </p:nvSpPr>
        <p:spPr>
          <a:xfrm>
            <a:off x="6835129" y="4349100"/>
            <a:ext cx="751542" cy="658571"/>
          </a:xfrm>
          <a:prstGeom prst="ellipse">
            <a:avLst/>
          </a:prstGeom>
          <a:blipFill dpi="0" rotWithShape="1">
            <a:blip r:embed="rId6"/>
            <a:srcRect/>
            <a:stretch>
              <a:fillRect l="-72888" t="-46727" r="-149754" b="-19584"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z="254000" extrusionH="63500" contourW="19050" prstMaterial="matte">
            <a:contourClr>
              <a:srgbClr val="00B050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Овал 35"/>
          <p:cNvSpPr/>
          <p:nvPr/>
        </p:nvSpPr>
        <p:spPr>
          <a:xfrm>
            <a:off x="5176760" y="2024336"/>
            <a:ext cx="751542" cy="658571"/>
          </a:xfrm>
          <a:prstGeom prst="ellipse">
            <a:avLst/>
          </a:prstGeom>
          <a:blipFill dpi="0" rotWithShape="1">
            <a:blip r:embed="rId3"/>
            <a:srcRect/>
            <a:stretch>
              <a:fillRect l="-236975" t="-21699" r="-474247" b="-296453"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z="254000" extrusionH="63500" contourW="19050" prstMaterial="matte">
            <a:contourClr>
              <a:srgbClr val="00B050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Овал 21"/>
          <p:cNvSpPr/>
          <p:nvPr/>
        </p:nvSpPr>
        <p:spPr>
          <a:xfrm>
            <a:off x="5609714" y="5208045"/>
            <a:ext cx="751542" cy="658571"/>
          </a:xfrm>
          <a:prstGeom prst="ellipse">
            <a:avLst/>
          </a:prstGeom>
          <a:blipFill dpi="0" rotWithShape="1">
            <a:blip r:embed="rId3"/>
            <a:srcRect/>
            <a:stretch>
              <a:fillRect l="-336769" t="-382558" r="-532809" b="-17222"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z="254000" extrusionH="63500" contourW="19050" prstMaterial="matte">
            <a:contourClr>
              <a:srgbClr val="00B050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cxnSp>
        <p:nvCxnSpPr>
          <p:cNvPr id="23" name="Прямая соединительная линия 22"/>
          <p:cNvCxnSpPr/>
          <p:nvPr/>
        </p:nvCxnSpPr>
        <p:spPr>
          <a:xfrm>
            <a:off x="5759158" y="3206256"/>
            <a:ext cx="0" cy="180767"/>
          </a:xfrm>
          <a:prstGeom prst="line">
            <a:avLst/>
          </a:prstGeom>
          <a:ln w="25400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313560" y="5597127"/>
            <a:ext cx="5285976" cy="9927"/>
          </a:xfrm>
          <a:prstGeom prst="line">
            <a:avLst/>
          </a:prstGeom>
          <a:ln w="25400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92454" y="5607054"/>
            <a:ext cx="43092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Материал фундамента: бетон, кирпич</a:t>
            </a:r>
          </a:p>
        </p:txBody>
      </p:sp>
      <p:pic>
        <p:nvPicPr>
          <p:cNvPr id="34" name="Рисунок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Материалы</a:t>
            </a:r>
          </a:p>
        </p:txBody>
      </p:sp>
    </p:spTree>
    <p:extLst>
      <p:ext uri="{BB962C8B-B14F-4D97-AF65-F5344CB8AC3E}">
        <p14:creationId xmlns:p14="http://schemas.microsoft.com/office/powerpoint/2010/main" val="353825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545"/>
          <a:stretch/>
        </p:blipFill>
        <p:spPr>
          <a:xfrm>
            <a:off x="4172370" y="1026799"/>
            <a:ext cx="4507306" cy="27130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30" t="34440" r="4360" b="8915"/>
          <a:stretch/>
        </p:blipFill>
        <p:spPr>
          <a:xfrm>
            <a:off x="6803135" y="2696053"/>
            <a:ext cx="1954423" cy="11601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/>
          <a:srcRect l="52888" t="45667" r="23107" b="16285"/>
          <a:stretch/>
        </p:blipFill>
        <p:spPr>
          <a:xfrm>
            <a:off x="4884796" y="1950285"/>
            <a:ext cx="544326" cy="781036"/>
          </a:xfrm>
          <a:prstGeom prst="rect">
            <a:avLst/>
          </a:prstGeom>
          <a:ln>
            <a:noFill/>
          </a:ln>
          <a:effectLst>
            <a:softEdge rad="88900"/>
          </a:effectLst>
        </p:spPr>
      </p:pic>
      <p:sp>
        <p:nvSpPr>
          <p:cNvPr id="16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589" y="1258887"/>
            <a:ext cx="4183971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 fontAlgn="base">
              <a:buClr>
                <a:srgbClr val="2B6030"/>
              </a:buClr>
              <a:buSzPct val="150000"/>
            </a:pPr>
            <a:r>
              <a:rPr lang="ru-RU" sz="1600" b="1" dirty="0" smtClean="0">
                <a:cs typeface="Times New Roman" panose="02020603050405020304" pitchFamily="18" charset="0"/>
              </a:rPr>
              <a:t>Возводимый дом должен быть полностью пригодным для постоянного проживания и содержать все необходимые элементы благоустройства:</a:t>
            </a: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Пол: </a:t>
            </a:r>
            <a:r>
              <a:rPr lang="ru-RU" sz="1600" dirty="0">
                <a:cs typeface="Times New Roman" panose="02020603050405020304" pitchFamily="18" charset="0"/>
              </a:rPr>
              <a:t>стяжка</a:t>
            </a: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Окна: рамные, стеклопакеты</a:t>
            </a: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Двери: деревянные, металлические 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8"/>
          <a:srcRect l="52888" t="45667" r="23018" b="17483"/>
          <a:stretch/>
        </p:blipFill>
        <p:spPr>
          <a:xfrm>
            <a:off x="4789022" y="4008192"/>
            <a:ext cx="1613109" cy="1896219"/>
          </a:xfrm>
          <a:prstGeom prst="rect">
            <a:avLst/>
          </a:prstGeom>
          <a:ln>
            <a:noFill/>
          </a:ln>
          <a:effectLst>
            <a:softEdge rad="889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3" t="36808" r="53979" b="49704"/>
          <a:stretch/>
        </p:blipFill>
        <p:spPr>
          <a:xfrm>
            <a:off x="6594578" y="4008192"/>
            <a:ext cx="2269410" cy="19243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2235" y="3456225"/>
            <a:ext cx="4373576" cy="2662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 fontAlgn="base">
              <a:lnSpc>
                <a:spcPct val="150000"/>
              </a:lnSpc>
              <a:buClr>
                <a:srgbClr val="2B6030"/>
              </a:buClr>
              <a:buSzPct val="150000"/>
            </a:pPr>
            <a:endParaRPr lang="ru-RU" sz="1600" b="1" dirty="0" smtClean="0">
              <a:cs typeface="Times New Roman" panose="02020603050405020304" pitchFamily="18" charset="0"/>
            </a:endParaRPr>
          </a:p>
          <a:p>
            <a:pPr fontAlgn="base">
              <a:buClr>
                <a:srgbClr val="2B6030"/>
              </a:buClr>
              <a:buSzPct val="150000"/>
            </a:pPr>
            <a:r>
              <a:rPr lang="ru-RU" sz="1600" b="1" dirty="0" smtClean="0">
                <a:cs typeface="Times New Roman" panose="02020603050405020304" pitchFamily="18" charset="0"/>
              </a:rPr>
              <a:t>Отделка дома:</a:t>
            </a:r>
          </a:p>
          <a:p>
            <a:pPr marL="285750" indent="-285750" algn="just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Внешняя: 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Фасадные работы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Благоустройство территории</a:t>
            </a:r>
          </a:p>
          <a:p>
            <a:pPr marL="285750" indent="-285750" algn="just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Внутренняя: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Пол: паркет, ламинат, плитка, линолеум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Стены: штукатурка, обои, покраска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Потолки: штукатурка, натяжные, навесные</a:t>
            </a:r>
          </a:p>
          <a:p>
            <a:pPr algn="just" fontAlgn="base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50000"/>
            </a:pPr>
            <a:r>
              <a:rPr lang="ru-RU" sz="1600" i="1" dirty="0" smtClean="0">
                <a:cs typeface="Times New Roman" panose="02020603050405020304" pitchFamily="18" charset="0"/>
              </a:rPr>
              <a:t>ИСКЛ: отделка не выполняется в домах из бруса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60" t="38065" r="56312" b="50066"/>
          <a:stretch/>
        </p:blipFill>
        <p:spPr>
          <a:xfrm>
            <a:off x="7036968" y="1645624"/>
            <a:ext cx="394222" cy="448352"/>
          </a:xfrm>
          <a:prstGeom prst="rect">
            <a:avLst/>
          </a:prstGeom>
          <a:ln>
            <a:noFill/>
          </a:ln>
          <a:effectLst>
            <a:softEdge rad="38100"/>
          </a:effectLst>
        </p:spPr>
      </p:pic>
      <p:pic>
        <p:nvPicPr>
          <p:cNvPr id="15" name="Рисунок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Пол, окна, двери, отделк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8868" y="3067333"/>
            <a:ext cx="36879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50000"/>
            </a:pPr>
            <a:r>
              <a:rPr lang="ru-RU" sz="1600" i="1" dirty="0" smtClean="0">
                <a:cs typeface="Times New Roman" panose="02020603050405020304" pitchFamily="18" charset="0"/>
              </a:rPr>
              <a:t>Построенный дом должен содержать межкомнатные двери и окна</a:t>
            </a:r>
            <a:endParaRPr lang="ru-RU" sz="1600" i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39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7"/>
          <a:stretch/>
        </p:blipFill>
        <p:spPr>
          <a:xfrm>
            <a:off x="3813086" y="1267959"/>
            <a:ext cx="5130832" cy="3053850"/>
          </a:xfrm>
          <a:prstGeom prst="rect">
            <a:avLst/>
          </a:prstGeom>
        </p:spPr>
      </p:pic>
      <p:pic>
        <p:nvPicPr>
          <p:cNvPr id="36866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Инженерные коммуникации</a:t>
            </a: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6980" y="1253029"/>
            <a:ext cx="4211403" cy="5093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 fontAlgn="base">
              <a:buClr>
                <a:srgbClr val="2B6030"/>
              </a:buClr>
              <a:buSzPct val="150000"/>
            </a:pPr>
            <a:r>
              <a:rPr lang="ru-RU" sz="1600" b="1" dirty="0" smtClean="0">
                <a:cs typeface="Times New Roman" panose="02020603050405020304" pitchFamily="18" charset="0"/>
              </a:rPr>
              <a:t>Проектно-сметная документация должна содержать положения об обеспечении возводимого дома централизованными или автономными инженерными системами и подключение к ним</a:t>
            </a:r>
            <a:r>
              <a:rPr lang="ru-RU" sz="1600" dirty="0" smtClean="0">
                <a:cs typeface="Times New Roman" panose="02020603050405020304" pitchFamily="18" charset="0"/>
              </a:rPr>
              <a:t>:</a:t>
            </a: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Электроснабжение: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Постоянное электроснабжение </a:t>
            </a:r>
            <a:r>
              <a:rPr lang="ru-RU" sz="1600" dirty="0">
                <a:cs typeface="Times New Roman" panose="02020603050405020304" pitchFamily="18" charset="0"/>
              </a:rPr>
              <a:t>от внешнего источника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Разводка сетей по дому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Громоотвод</a:t>
            </a: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Водоснабжение: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>
                <a:cs typeface="Times New Roman" panose="02020603050405020304" pitchFamily="18" charset="0"/>
              </a:rPr>
              <a:t>Центральное водоснабжение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Бурение водозаборной скважины</a:t>
            </a:r>
            <a:endParaRPr lang="ru-RU" sz="1600" dirty="0">
              <a:cs typeface="Times New Roman" panose="02020603050405020304" pitchFamily="18" charset="0"/>
            </a:endParaRP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Отопление: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>
                <a:cs typeface="Times New Roman" panose="02020603050405020304" pitchFamily="18" charset="0"/>
              </a:rPr>
              <a:t>Котел: </a:t>
            </a:r>
            <a:r>
              <a:rPr lang="ru-RU" sz="1600" dirty="0" smtClean="0">
                <a:cs typeface="Times New Roman" panose="02020603050405020304" pitchFamily="18" charset="0"/>
              </a:rPr>
              <a:t>газовый/электрический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Радиаторы отопления/теплый пол</a:t>
            </a:r>
            <a:endParaRPr lang="ru-RU" sz="1600" dirty="0">
              <a:cs typeface="Times New Roman" panose="02020603050405020304" pitchFamily="18" charset="0"/>
            </a:endParaRP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cs typeface="Times New Roman" panose="02020603050405020304" pitchFamily="18" charset="0"/>
              </a:rPr>
              <a:t>Водоотведение и канализация: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>
                <a:cs typeface="Times New Roman" panose="02020603050405020304" pitchFamily="18" charset="0"/>
              </a:rPr>
              <a:t>Центральное</a:t>
            </a:r>
          </a:p>
          <a:p>
            <a:pPr marL="571500" indent="-285750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>
                <a:cs typeface="Times New Roman" panose="02020603050405020304" pitchFamily="18" charset="0"/>
              </a:rPr>
              <a:t>Септик</a:t>
            </a: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 smtClean="0">
              <a:cs typeface="Times New Roman" panose="02020603050405020304" pitchFamily="18" charset="0"/>
            </a:endParaRP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100" dirty="0" smtClean="0">
              <a:cs typeface="Times New Roman" panose="02020603050405020304" pitchFamily="18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6960" y="5963736"/>
            <a:ext cx="803007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sz="2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ru-RU" sz="16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/>
              <a:t>Оснащение инженерными сетями должно быть как внутренними, так и внешними </a:t>
            </a:r>
            <a:endParaRPr lang="ru-RU" sz="16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445250" y="4301674"/>
            <a:ext cx="456004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v"/>
            </a:pPr>
            <a:r>
              <a:rPr lang="ru-RU" sz="1600" dirty="0" smtClean="0">
                <a:cs typeface="Times New Roman" panose="02020603050405020304" pitchFamily="18" charset="0"/>
              </a:rPr>
              <a:t>Газоснабжение </a:t>
            </a:r>
            <a:r>
              <a:rPr lang="ru-RU" sz="1600" dirty="0">
                <a:cs typeface="Times New Roman" panose="02020603050405020304" pitchFamily="18" charset="0"/>
              </a:rPr>
              <a:t>(обязательное требование в газифицированном районе):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Централизованное/газгольдер</a:t>
            </a: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>
                <a:cs typeface="Times New Roman" panose="02020603050405020304" pitchFamily="18" charset="0"/>
              </a:rPr>
              <a:t>Газовый котел </a:t>
            </a:r>
            <a:endParaRPr lang="ru-RU" sz="1600" dirty="0">
              <a:cs typeface="Times New Roman" panose="02020603050405020304" pitchFamily="18" charset="0"/>
            </a:endParaRPr>
          </a:p>
          <a:p>
            <a:pPr marL="571500" indent="-285750" algn="just" fontAlgn="base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>
                <a:cs typeface="Times New Roman" panose="02020603050405020304" pitchFamily="18" charset="0"/>
              </a:rPr>
              <a:t>Подключение к газовым сетям</a:t>
            </a:r>
          </a:p>
        </p:txBody>
      </p:sp>
    </p:spTree>
    <p:extLst>
      <p:ext uri="{BB962C8B-B14F-4D97-AF65-F5344CB8AC3E}">
        <p14:creationId xmlns:p14="http://schemas.microsoft.com/office/powerpoint/2010/main" val="71592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20" t="11616" r="7745" b="3183"/>
          <a:stretch/>
        </p:blipFill>
        <p:spPr>
          <a:xfrm>
            <a:off x="4504677" y="1358537"/>
            <a:ext cx="4439242" cy="34224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588" y="1236857"/>
            <a:ext cx="4375995" cy="661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sz="1600" b="1" dirty="0" smtClean="0">
                <a:ea typeface="Times New Roman" panose="02020603050405020304" pitchFamily="18" charset="0"/>
              </a:rPr>
              <a:t>Требования к документации </a:t>
            </a:r>
            <a:r>
              <a:rPr lang="ru-RU" sz="1600" b="1" dirty="0">
                <a:ea typeface="Times New Roman" panose="02020603050405020304" pitchFamily="18" charset="0"/>
              </a:rPr>
              <a:t>ранее начатого строительства жилого </a:t>
            </a:r>
            <a:r>
              <a:rPr lang="ru-RU" sz="1600" b="1" dirty="0" smtClean="0">
                <a:ea typeface="Times New Roman" panose="02020603050405020304" pitchFamily="18" charset="0"/>
              </a:rPr>
              <a:t>дома:</a:t>
            </a:r>
            <a:endParaRPr lang="ru-RU" sz="1600" dirty="0" smtClean="0">
              <a:cs typeface="Times New Roman" panose="02020603050405020304" pitchFamily="18" charset="0"/>
            </a:endParaRP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100" dirty="0" smtClean="0"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/>
          <a:srcRect t="-1199" b="1"/>
          <a:stretch/>
        </p:blipFill>
        <p:spPr>
          <a:xfrm>
            <a:off x="4613649" y="4918266"/>
            <a:ext cx="4233970" cy="143901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88029" y="1478830"/>
            <a:ext cx="43559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600" dirty="0" smtClean="0">
              <a:ea typeface="Times New Roman" panose="02020603050405020304" pitchFamily="18" charset="0"/>
            </a:endParaRP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>
                <a:ea typeface="Times New Roman" panose="02020603050405020304" pitchFamily="18" charset="0"/>
              </a:rPr>
              <a:t>Ранее </a:t>
            </a:r>
            <a:r>
              <a:rPr lang="ru-RU" sz="1600" dirty="0">
                <a:ea typeface="Times New Roman" panose="02020603050405020304" pitchFamily="18" charset="0"/>
              </a:rPr>
              <a:t>выполненные </a:t>
            </a:r>
            <a:r>
              <a:rPr lang="ru-RU" sz="1600" dirty="0" smtClean="0">
                <a:ea typeface="Times New Roman" panose="02020603050405020304" pitchFamily="18" charset="0"/>
              </a:rPr>
              <a:t>работы заказчиком должны быть включены в проектно-сметную документации без учета стоимости работ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Отчет об оценке земельного участка должен содержать информацию о незавершенных объектах строительства 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/>
          </a:p>
        </p:txBody>
      </p:sp>
      <p:pic>
        <p:nvPicPr>
          <p:cNvPr id="14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Незавершенное строительство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0"/>
          <a:srcRect r="1027" b="4613"/>
          <a:stretch/>
        </p:blipFill>
        <p:spPr>
          <a:xfrm>
            <a:off x="296588" y="3519875"/>
            <a:ext cx="4208088" cy="290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44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210" y="1236857"/>
            <a:ext cx="3657815" cy="2358471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588" y="1236857"/>
            <a:ext cx="4375995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sz="1600" b="1" dirty="0" smtClean="0">
                <a:ea typeface="Times New Roman" panose="02020603050405020304" pitchFamily="18" charset="0"/>
              </a:rPr>
              <a:t>Помимо рыночной стоимости земельного участка, отчет об оценке должен содержать следующую информацию:</a:t>
            </a:r>
            <a:endParaRPr lang="ru-RU" sz="1600" dirty="0" smtClean="0">
              <a:cs typeface="Times New Roman" panose="02020603050405020304" pitchFamily="18" charset="0"/>
            </a:endParaRPr>
          </a:p>
          <a:p>
            <a:pPr marL="285750" indent="-285750" fontAlgn="base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100" dirty="0" smtClean="0"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7531" y="1779895"/>
            <a:ext cx="451505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FFC000"/>
              </a:buClr>
              <a:buSzPct val="150000"/>
            </a:pPr>
            <a:endParaRPr lang="ru-RU" sz="1600" dirty="0"/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Местонахождение 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Расстояние от областного/районного центра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Транспортная доступность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Наличие коммуникаций в населенном пункте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Экономическая ситуация района:</a:t>
            </a:r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/>
              <a:t>Численность населения</a:t>
            </a:r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/>
              <a:t>Занятость </a:t>
            </a:r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/>
              <a:t>Средний доход населения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Наличие школ, медицинских учреждений</a:t>
            </a:r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600" dirty="0" smtClean="0"/>
              <a:t>Фотоматериалы</a:t>
            </a:r>
            <a:r>
              <a:rPr lang="ru-RU" sz="1600" dirty="0"/>
              <a:t>:</a:t>
            </a:r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/>
              <a:t>Въезд в </a:t>
            </a:r>
            <a:r>
              <a:rPr lang="ru-RU" sz="1600" dirty="0"/>
              <a:t>населенный </a:t>
            </a:r>
            <a:r>
              <a:rPr lang="ru-RU" sz="1600" dirty="0" smtClean="0"/>
              <a:t>пункт</a:t>
            </a:r>
            <a:endParaRPr lang="ru-RU" sz="1600" dirty="0"/>
          </a:p>
          <a:p>
            <a:pPr marL="285750" indent="285750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/>
              <a:t>Централизованные </a:t>
            </a:r>
            <a:r>
              <a:rPr lang="ru-RU" sz="1600" dirty="0" smtClean="0"/>
              <a:t>коммуникации за границей участка</a:t>
            </a:r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/>
              <a:t>Коммуникации на земельном участке</a:t>
            </a:r>
            <a:endParaRPr lang="ru-RU" sz="1600" dirty="0"/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/>
              <a:t>Водонапорная </a:t>
            </a:r>
            <a:r>
              <a:rPr lang="ru-RU" sz="1600" dirty="0" smtClean="0"/>
              <a:t>башня (при наличии)</a:t>
            </a:r>
            <a:endParaRPr lang="ru-RU" sz="1600" dirty="0"/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/>
              <a:t>Состояние </a:t>
            </a:r>
            <a:r>
              <a:rPr lang="ru-RU" sz="1600" dirty="0" smtClean="0"/>
              <a:t>дорожного покрытия</a:t>
            </a:r>
          </a:p>
          <a:p>
            <a:pPr marL="285750" indent="285750" algn="just">
              <a:buClr>
                <a:srgbClr val="FFC000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sz="1600" dirty="0" smtClean="0"/>
              <a:t>Панорамное фото участка</a:t>
            </a:r>
            <a:endParaRPr lang="ru-RU" sz="1600" dirty="0"/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 smtClean="0"/>
          </a:p>
          <a:p>
            <a:pPr marL="285750" indent="-285750" algn="just"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ru-RU" sz="1600" dirty="0"/>
          </a:p>
        </p:txBody>
      </p:sp>
      <p:pic>
        <p:nvPicPr>
          <p:cNvPr id="14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Требования к отчету об оценке</a:t>
            </a:r>
          </a:p>
        </p:txBody>
      </p:sp>
      <p:pic>
        <p:nvPicPr>
          <p:cNvPr id="13" name="Рисунок 12" descr="http://photos.wikimapia.org/p/00/06/34/23/76_big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189" y="3728631"/>
            <a:ext cx="4248151" cy="24643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152674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8731" y="2008169"/>
            <a:ext cx="5107214" cy="4349111"/>
          </a:xfrm>
          <a:prstGeom prst="rect">
            <a:avLst/>
          </a:prstGeom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5852570" y="6447895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  <a:endParaRPr lang="en-US" altLang="ru-RU" dirty="0" smtClea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7513"/>
            <a:ext cx="91440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588" y="1162388"/>
            <a:ext cx="5163686" cy="700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ct val="150000"/>
              </a:lnSpc>
              <a:buClr>
                <a:srgbClr val="2B6030"/>
              </a:buClr>
              <a:buSzPct val="150000"/>
            </a:pPr>
            <a:r>
              <a:rPr lang="ru-RU" sz="1600" b="1" dirty="0" smtClean="0">
                <a:cs typeface="Times New Roman" panose="02020603050405020304" pitchFamily="18" charset="0"/>
              </a:rPr>
              <a:t>Поэтапное содержание проектно-сметной документации одного из вариантов загородного дома:</a:t>
            </a:r>
            <a:endParaRPr lang="ru-RU" sz="1100" dirty="0" smtClean="0">
              <a:cs typeface="Times New Roman" panose="02020603050405020304" pitchFamily="18" charset="0"/>
            </a:endParaRPr>
          </a:p>
        </p:txBody>
      </p:sp>
      <p:pic>
        <p:nvPicPr>
          <p:cNvPr id="12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118" y="526314"/>
            <a:ext cx="1955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039"/>
          <a:stretch>
            <a:fillRect/>
          </a:stretch>
        </p:blipFill>
        <p:spPr bwMode="auto">
          <a:xfrm>
            <a:off x="0" y="520740"/>
            <a:ext cx="3651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203256" y="423946"/>
            <a:ext cx="6702642" cy="49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Итоговый проект</a:t>
            </a:r>
          </a:p>
        </p:txBody>
      </p:sp>
    </p:spTree>
    <p:extLst>
      <p:ext uri="{BB962C8B-B14F-4D97-AF65-F5344CB8AC3E}">
        <p14:creationId xmlns:p14="http://schemas.microsoft.com/office/powerpoint/2010/main" val="1627319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3xa_2e0iD9kPG1GWY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67ea8c4-e13b-4022-ae41-c146554f18f0">DRRB-25-1428</_dlc_DocId>
    <_dlc_DocIdUrl xmlns="667ea8c4-e13b-4022-ae41-c146554f18f0">
      <Url>https://portal/departments/drrb/_layouts/15/DocIdRedir.aspx?ID=DRRB-25-1428</Url>
      <Description>DRRB-25-1428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8964CC9E0EDB34386107033A95C442E" ma:contentTypeVersion="0" ma:contentTypeDescription="Создание документа." ma:contentTypeScope="" ma:versionID="b42b9bd8b3942b3458508d2fdf67ce26">
  <xsd:schema xmlns:xsd="http://www.w3.org/2001/XMLSchema" xmlns:xs="http://www.w3.org/2001/XMLSchema" xmlns:p="http://schemas.microsoft.com/office/2006/metadata/properties" xmlns:ns2="667ea8c4-e13b-4022-ae41-c146554f18f0" targetNamespace="http://schemas.microsoft.com/office/2006/metadata/properties" ma:root="true" ma:fieldsID="089ef0accd68cf71d77274146770523a" ns2:_="">
    <xsd:import namespace="667ea8c4-e13b-4022-ae41-c146554f18f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7ea8c4-e13b-4022-ae41-c146554f18f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492AD69-7166-4F94-A87D-F50AFE3AFF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E1C7C3-612F-47C7-8B5F-A008F7B93BA2}">
  <ds:schemaRefs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667ea8c4-e13b-4022-ae41-c146554f18f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5A9EC6F-407C-4658-BAC1-4EFF330AEB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7ea8c4-e13b-4022-ae41-c146554f18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D272923-8842-4EC1-A9C6-11F600DEA10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42756</TotalTime>
  <Words>467</Words>
  <Application>Microsoft Office PowerPoint</Application>
  <PresentationFormat>Экран (4:3)</PresentationFormat>
  <Paragraphs>119</Paragraphs>
  <Slides>9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Wingdings</vt:lpstr>
      <vt:lpstr>Тема Office</vt:lpstr>
      <vt:lpstr>think-cell Slide</vt:lpstr>
      <vt:lpstr>Требования к проектно-сметной документации в рамках кредитного продукта «Ипотечный кредит с льготной процентной ставкой для граждан Российской Федерации на строительство (приобретение) жилого помещения на сельских территориях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OJSC AgriCultural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твеев Сергей Сергеевич</dc:creator>
  <cp:lastModifiedBy>Кучеренко Ирина Владимировна</cp:lastModifiedBy>
  <cp:revision>767</cp:revision>
  <cp:lastPrinted>2019-10-29T07:13:16Z</cp:lastPrinted>
  <dcterms:created xsi:type="dcterms:W3CDTF">2017-04-28T11:25:31Z</dcterms:created>
  <dcterms:modified xsi:type="dcterms:W3CDTF">2020-07-07T05:5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964CC9E0EDB34386107033A95C442E</vt:lpwstr>
  </property>
  <property fmtid="{D5CDD505-2E9C-101B-9397-08002B2CF9AE}" pid="3" name="_dlc_DocIdItemGuid">
    <vt:lpwstr>00960c07-61dc-41f6-b6cc-c6bb2ac94253</vt:lpwstr>
  </property>
</Properties>
</file>